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emf" ContentType="image/x-emf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Default Extension="wav" ContentType="audio/wav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charts/chart8.xml" ContentType="application/vnd.openxmlformats-officedocument.drawingml.chart+xml"/>
  <Override PartName="/ppt/charts/chart9.xml" ContentType="application/vnd.openxmlformats-officedocument.drawingml.chart+xml"/>
  <Default Extension="vml" ContentType="application/vnd.openxmlformats-officedocument.vmlDrawing"/>
  <Override PartName="/ppt/charts/chart6.xml" ContentType="application/vnd.openxmlformats-officedocument.drawingml.chart+xml"/>
  <Override PartName="/ppt/charts/chart7.xml" ContentType="application/vnd.openxmlformats-officedocument.drawingml.chart+xml"/>
  <Default Extension="gif" ContentType="image/gif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56" r:id="rId2"/>
    <p:sldId id="274" r:id="rId3"/>
    <p:sldId id="276" r:id="rId4"/>
    <p:sldId id="267" r:id="rId5"/>
    <p:sldId id="260" r:id="rId6"/>
    <p:sldId id="271" r:id="rId7"/>
    <p:sldId id="272" r:id="rId8"/>
    <p:sldId id="273" r:id="rId9"/>
    <p:sldId id="266" r:id="rId10"/>
    <p:sldId id="263" r:id="rId11"/>
    <p:sldId id="262" r:id="rId12"/>
    <p:sldId id="265" r:id="rId13"/>
    <p:sldId id="264" r:id="rId14"/>
    <p:sldId id="269" r:id="rId15"/>
    <p:sldId id="268" r:id="rId16"/>
    <p:sldId id="270" r:id="rId17"/>
    <p:sldId id="275" r:id="rId18"/>
    <p:sldId id="259" r:id="rId1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575" autoAdjust="0"/>
  </p:normalViewPr>
  <p:slideViewPr>
    <p:cSldViewPr>
      <p:cViewPr varScale="1">
        <p:scale>
          <a:sx n="84" d="100"/>
          <a:sy n="84" d="100"/>
        </p:scale>
        <p:origin x="-1560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esktop\&#25968;&#25454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esktop\&#25968;&#25454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esktop\&#24179;&#21488;&#36164;&#26009;\&#21334;&#23478;&#24037;&#20316;&#24179;&#21488;%20-%20&#21103;&#26412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dministrator\Desktop\&#24179;&#21488;&#36164;&#26009;\&#25968;&#25454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1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QF's%20File\work%20files\daily%20work\jos&#25935;&#25463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QF's%20File\work%20files\daily%20work\jos&#25935;&#25463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2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title>
      <c:layout/>
    </c:title>
    <c:plotArea>
      <c:layout/>
      <c:lineChart>
        <c:grouping val="stacked"/>
        <c:ser>
          <c:idx val="0"/>
          <c:order val="0"/>
          <c:tx>
            <c:v>使用商家数</c:v>
          </c:tx>
          <c:spPr>
            <a:ln w="19050"/>
          </c:spPr>
          <c:cat>
            <c:numRef>
              <c:f>Sheet1!$A$21:$A$29</c:f>
              <c:numCache>
                <c:formatCode>yyyy"年"m"月"</c:formatCode>
                <c:ptCount val="9"/>
                <c:pt idx="0">
                  <c:v>41518</c:v>
                </c:pt>
                <c:pt idx="1">
                  <c:v>41548</c:v>
                </c:pt>
                <c:pt idx="2">
                  <c:v>41579</c:v>
                </c:pt>
                <c:pt idx="3">
                  <c:v>41609</c:v>
                </c:pt>
                <c:pt idx="4">
                  <c:v>41640</c:v>
                </c:pt>
                <c:pt idx="5">
                  <c:v>41671</c:v>
                </c:pt>
                <c:pt idx="6">
                  <c:v>41699</c:v>
                </c:pt>
                <c:pt idx="7">
                  <c:v>41730</c:v>
                </c:pt>
                <c:pt idx="8">
                  <c:v>41760</c:v>
                </c:pt>
              </c:numCache>
            </c:numRef>
          </c:cat>
          <c:val>
            <c:numRef>
              <c:f>Sheet1!$B$21:$B$29</c:f>
              <c:numCache>
                <c:formatCode>#,##0_ </c:formatCode>
                <c:ptCount val="9"/>
                <c:pt idx="0">
                  <c:v>12658</c:v>
                </c:pt>
                <c:pt idx="1">
                  <c:v>13161</c:v>
                </c:pt>
                <c:pt idx="2">
                  <c:v>14021</c:v>
                </c:pt>
                <c:pt idx="3">
                  <c:v>15019</c:v>
                </c:pt>
                <c:pt idx="4">
                  <c:v>16358</c:v>
                </c:pt>
                <c:pt idx="5">
                  <c:v>17803</c:v>
                </c:pt>
                <c:pt idx="6">
                  <c:v>20215</c:v>
                </c:pt>
                <c:pt idx="7">
                  <c:v>24216</c:v>
                </c:pt>
                <c:pt idx="8">
                  <c:v>26005</c:v>
                </c:pt>
              </c:numCache>
            </c:numRef>
          </c:val>
        </c:ser>
        <c:marker val="1"/>
        <c:axId val="67493248"/>
        <c:axId val="33866880"/>
      </c:lineChart>
      <c:dateAx>
        <c:axId val="67493248"/>
        <c:scaling>
          <c:orientation val="minMax"/>
        </c:scaling>
        <c:axPos val="b"/>
        <c:numFmt formatCode="yyyy&quot;年&quot;m&quot;月&quot;" sourceLinked="1"/>
        <c:tickLblPos val="nextTo"/>
        <c:crossAx val="33866880"/>
        <c:crosses val="autoZero"/>
        <c:auto val="1"/>
        <c:lblOffset val="100"/>
        <c:baseTimeUnit val="months"/>
      </c:dateAx>
      <c:valAx>
        <c:axId val="33866880"/>
        <c:scaling>
          <c:orientation val="minMax"/>
        </c:scaling>
        <c:axPos val="l"/>
        <c:majorGridlines/>
        <c:numFmt formatCode="#,##0_ " sourceLinked="1"/>
        <c:tickLblPos val="nextTo"/>
        <c:crossAx val="67493248"/>
        <c:crosses val="autoZero"/>
        <c:crossBetween val="between"/>
      </c:valAx>
    </c:plotArea>
    <c:plotVisOnly val="1"/>
    <c:dispBlanksAs val="zero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title>
      <c:layout/>
    </c:title>
    <c:plotArea>
      <c:layout/>
      <c:lineChart>
        <c:grouping val="stacked"/>
        <c:ser>
          <c:idx val="0"/>
          <c:order val="0"/>
          <c:tx>
            <c:v>装机量</c:v>
          </c:tx>
          <c:spPr>
            <a:ln w="19050"/>
          </c:spPr>
          <c:cat>
            <c:numRef>
              <c:f>Sheet1!$A$21:$A$29</c:f>
              <c:numCache>
                <c:formatCode>yyyy"年"m"月"</c:formatCode>
                <c:ptCount val="9"/>
                <c:pt idx="0">
                  <c:v>41518</c:v>
                </c:pt>
                <c:pt idx="1">
                  <c:v>41548</c:v>
                </c:pt>
                <c:pt idx="2">
                  <c:v>41579</c:v>
                </c:pt>
                <c:pt idx="3">
                  <c:v>41609</c:v>
                </c:pt>
                <c:pt idx="4">
                  <c:v>41640</c:v>
                </c:pt>
                <c:pt idx="5">
                  <c:v>41671</c:v>
                </c:pt>
                <c:pt idx="6">
                  <c:v>41699</c:v>
                </c:pt>
                <c:pt idx="7">
                  <c:v>41730</c:v>
                </c:pt>
                <c:pt idx="8">
                  <c:v>41760</c:v>
                </c:pt>
              </c:numCache>
            </c:numRef>
          </c:cat>
          <c:val>
            <c:numRef>
              <c:f>Sheet1!$C$21:$C$29</c:f>
              <c:numCache>
                <c:formatCode>#,##0_ </c:formatCode>
                <c:ptCount val="9"/>
                <c:pt idx="0">
                  <c:v>20614</c:v>
                </c:pt>
                <c:pt idx="1">
                  <c:v>22306</c:v>
                </c:pt>
                <c:pt idx="2">
                  <c:v>25716</c:v>
                </c:pt>
                <c:pt idx="3">
                  <c:v>29506</c:v>
                </c:pt>
                <c:pt idx="4">
                  <c:v>35258</c:v>
                </c:pt>
                <c:pt idx="5">
                  <c:v>42559</c:v>
                </c:pt>
                <c:pt idx="6">
                  <c:v>49663</c:v>
                </c:pt>
                <c:pt idx="7">
                  <c:v>64266</c:v>
                </c:pt>
                <c:pt idx="8">
                  <c:v>70162</c:v>
                </c:pt>
              </c:numCache>
            </c:numRef>
          </c:val>
        </c:ser>
        <c:marker val="1"/>
        <c:axId val="34218368"/>
        <c:axId val="34219904"/>
      </c:lineChart>
      <c:dateAx>
        <c:axId val="34218368"/>
        <c:scaling>
          <c:orientation val="minMax"/>
        </c:scaling>
        <c:axPos val="b"/>
        <c:numFmt formatCode="yyyy&quot;年&quot;m&quot;月&quot;" sourceLinked="1"/>
        <c:tickLblPos val="nextTo"/>
        <c:crossAx val="34219904"/>
        <c:crosses val="autoZero"/>
        <c:auto val="1"/>
        <c:lblOffset val="100"/>
        <c:baseTimeUnit val="months"/>
      </c:dateAx>
      <c:valAx>
        <c:axId val="34219904"/>
        <c:scaling>
          <c:orientation val="minMax"/>
        </c:scaling>
        <c:axPos val="l"/>
        <c:majorGridlines/>
        <c:numFmt formatCode="#,##0_ " sourceLinked="1"/>
        <c:tickLblPos val="nextTo"/>
        <c:crossAx val="34218368"/>
        <c:crosses val="autoZero"/>
        <c:crossBetween val="between"/>
      </c:valAx>
    </c:plotArea>
    <c:plotVisOnly val="1"/>
    <c:dispBlanksAs val="zero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title>
      <c:tx>
        <c:rich>
          <a:bodyPr/>
          <a:lstStyle/>
          <a:p>
            <a:pPr>
              <a:defRPr/>
            </a:pPr>
            <a:r>
              <a:rPr lang="zh-CN" altLang="en-US" dirty="0" smtClean="0"/>
              <a:t>交付用户</a:t>
            </a:r>
            <a:r>
              <a:rPr lang="zh-CN" altLang="en-US" dirty="0"/>
              <a:t>价值工时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8.6071741032370933E-2"/>
          <c:y val="0.15510425780110859"/>
          <c:w val="0.86392825896762915"/>
          <c:h val="0.7289158646835846"/>
        </c:manualLayout>
      </c:layout>
      <c:lineChart>
        <c:grouping val="standard"/>
        <c:ser>
          <c:idx val="0"/>
          <c:order val="0"/>
          <c:tx>
            <c:v>用户价值工时</c:v>
          </c:tx>
          <c:val>
            <c:numRef>
              <c:f>'[卖家工作平台 - 副本.xlsx]总结'!$G$2:$G$10</c:f>
              <c:numCache>
                <c:formatCode>General</c:formatCode>
                <c:ptCount val="9"/>
                <c:pt idx="0">
                  <c:v>156</c:v>
                </c:pt>
                <c:pt idx="1">
                  <c:v>163</c:v>
                </c:pt>
                <c:pt idx="2">
                  <c:v>167</c:v>
                </c:pt>
                <c:pt idx="3">
                  <c:v>183</c:v>
                </c:pt>
                <c:pt idx="4">
                  <c:v>251</c:v>
                </c:pt>
                <c:pt idx="5">
                  <c:v>276</c:v>
                </c:pt>
                <c:pt idx="6">
                  <c:v>271</c:v>
                </c:pt>
                <c:pt idx="7">
                  <c:v>285</c:v>
                </c:pt>
                <c:pt idx="8">
                  <c:v>302</c:v>
                </c:pt>
              </c:numCache>
            </c:numRef>
          </c:val>
        </c:ser>
        <c:marker val="1"/>
        <c:axId val="34243712"/>
        <c:axId val="34245248"/>
      </c:lineChart>
      <c:catAx>
        <c:axId val="34243712"/>
        <c:scaling>
          <c:orientation val="minMax"/>
        </c:scaling>
        <c:axPos val="b"/>
        <c:tickLblPos val="nextTo"/>
        <c:crossAx val="34245248"/>
        <c:crosses val="autoZero"/>
        <c:auto val="1"/>
        <c:lblAlgn val="ctr"/>
        <c:lblOffset val="100"/>
      </c:catAx>
      <c:valAx>
        <c:axId val="34245248"/>
        <c:scaling>
          <c:orientation val="minMax"/>
        </c:scaling>
        <c:axPos val="l"/>
        <c:majorGridlines/>
        <c:numFmt formatCode="General" sourceLinked="1"/>
        <c:tickLblPos val="nextTo"/>
        <c:crossAx val="34243712"/>
        <c:crosses val="autoZero"/>
        <c:crossBetween val="between"/>
      </c:valAx>
    </c:plotArea>
    <c:plotVisOnly val="1"/>
    <c:dispBlanksAs val="gap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title>
      <c:tx>
        <c:rich>
          <a:bodyPr/>
          <a:lstStyle/>
          <a:p>
            <a:pPr>
              <a:defRPr/>
            </a:pPr>
            <a:r>
              <a:rPr lang="zh-CN" altLang="en-US" dirty="0">
                <a:solidFill>
                  <a:srgbClr val="FF0000"/>
                </a:solidFill>
              </a:rPr>
              <a:t>平台客户端周</a:t>
            </a:r>
            <a:r>
              <a:rPr lang="zh-CN" altLang="en-US" dirty="0" smtClean="0">
                <a:solidFill>
                  <a:srgbClr val="FF0000"/>
                </a:solidFill>
              </a:rPr>
              <a:t>活跃</a:t>
            </a:r>
            <a:endParaRPr lang="zh-CN" altLang="en-US" dirty="0">
              <a:solidFill>
                <a:srgbClr val="FF0000"/>
              </a:solidFill>
            </a:endParaRPr>
          </a:p>
        </c:rich>
      </c:tx>
      <c:layout/>
    </c:title>
    <c:plotArea>
      <c:layout/>
      <c:lineChart>
        <c:grouping val="standard"/>
        <c:ser>
          <c:idx val="0"/>
          <c:order val="0"/>
          <c:tx>
            <c:v>活跃数</c:v>
          </c:tx>
          <c:spPr>
            <a:ln w="19050"/>
          </c:spPr>
          <c:cat>
            <c:strRef>
              <c:f>Sheet1!$H$23:$H$31</c:f>
              <c:strCache>
                <c:ptCount val="9"/>
                <c:pt idx="0">
                  <c:v>WK12</c:v>
                </c:pt>
                <c:pt idx="1">
                  <c:v>WK13</c:v>
                </c:pt>
                <c:pt idx="2">
                  <c:v>WK14</c:v>
                </c:pt>
                <c:pt idx="3">
                  <c:v>WK15</c:v>
                </c:pt>
                <c:pt idx="4">
                  <c:v>WK16</c:v>
                </c:pt>
                <c:pt idx="5">
                  <c:v>WK17</c:v>
                </c:pt>
                <c:pt idx="6">
                  <c:v>WK18</c:v>
                </c:pt>
                <c:pt idx="7">
                  <c:v>WK19</c:v>
                </c:pt>
                <c:pt idx="8">
                  <c:v>WK20</c:v>
                </c:pt>
              </c:strCache>
            </c:strRef>
          </c:cat>
          <c:val>
            <c:numRef>
              <c:f>Sheet1!$I$23:$I$31</c:f>
              <c:numCache>
                <c:formatCode>#,##0_ </c:formatCode>
                <c:ptCount val="9"/>
                <c:pt idx="0">
                  <c:v>10076</c:v>
                </c:pt>
                <c:pt idx="1">
                  <c:v>10629</c:v>
                </c:pt>
                <c:pt idx="2">
                  <c:v>11291</c:v>
                </c:pt>
                <c:pt idx="3">
                  <c:v>11816</c:v>
                </c:pt>
                <c:pt idx="4">
                  <c:v>13576</c:v>
                </c:pt>
                <c:pt idx="5">
                  <c:v>14376</c:v>
                </c:pt>
                <c:pt idx="6">
                  <c:v>15376</c:v>
                </c:pt>
                <c:pt idx="7">
                  <c:v>16212</c:v>
                </c:pt>
                <c:pt idx="8">
                  <c:v>17061</c:v>
                </c:pt>
              </c:numCache>
            </c:numRef>
          </c:val>
        </c:ser>
        <c:marker val="1"/>
        <c:axId val="34264960"/>
        <c:axId val="34266496"/>
      </c:lineChart>
      <c:catAx>
        <c:axId val="34264960"/>
        <c:scaling>
          <c:orientation val="minMax"/>
        </c:scaling>
        <c:axPos val="b"/>
        <c:tickLblPos val="nextTo"/>
        <c:crossAx val="34266496"/>
        <c:crosses val="autoZero"/>
        <c:auto val="1"/>
        <c:lblAlgn val="ctr"/>
        <c:lblOffset val="100"/>
      </c:catAx>
      <c:valAx>
        <c:axId val="34266496"/>
        <c:scaling>
          <c:orientation val="minMax"/>
          <c:min val="9000"/>
        </c:scaling>
        <c:axPos val="l"/>
        <c:majorGridlines/>
        <c:numFmt formatCode="#,##0_ " sourceLinked="1"/>
        <c:tickLblPos val="nextTo"/>
        <c:crossAx val="34264960"/>
        <c:crosses val="autoZero"/>
        <c:crossBetween val="between"/>
      </c:valAx>
    </c:plotArea>
    <c:plotVisOnly val="1"/>
    <c:dispBlanksAs val="gap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title>
      <c:layout/>
    </c:title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同时在线商家数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现在</c:v>
                </c:pt>
                <c:pt idx="1">
                  <c:v>年前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00</c:v>
                </c:pt>
                <c:pt idx="1">
                  <c:v>3000</c:v>
                </c:pt>
              </c:numCache>
            </c:numRef>
          </c:val>
        </c:ser>
        <c:axId val="87694336"/>
        <c:axId val="87728896"/>
      </c:barChart>
      <c:catAx>
        <c:axId val="87694336"/>
        <c:scaling>
          <c:orientation val="minMax"/>
        </c:scaling>
        <c:axPos val="l"/>
        <c:tickLblPos val="nextTo"/>
        <c:crossAx val="87728896"/>
        <c:crosses val="autoZero"/>
        <c:auto val="1"/>
        <c:lblAlgn val="ctr"/>
        <c:lblOffset val="100"/>
      </c:catAx>
      <c:valAx>
        <c:axId val="87728896"/>
        <c:scaling>
          <c:orientation val="minMax"/>
        </c:scaling>
        <c:axPos val="b"/>
        <c:majorGridlines/>
        <c:numFmt formatCode="General" sourceLinked="1"/>
        <c:tickLblPos val="nextTo"/>
        <c:crossAx val="87694336"/>
        <c:crosses val="autoZero"/>
        <c:crossBetween val="between"/>
      </c:valAx>
    </c:plotArea>
    <c:legend>
      <c:legendPos val="r"/>
      <c:layout/>
    </c:legend>
    <c:plotVisOnly val="1"/>
  </c:chart>
  <c:txPr>
    <a:bodyPr/>
    <a:lstStyle/>
    <a:p>
      <a:pPr>
        <a:defRPr sz="1800"/>
      </a:pPr>
      <a:endParaRPr lang="zh-CN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title>
      <c:tx>
        <c:rich>
          <a:bodyPr/>
          <a:lstStyle/>
          <a:p>
            <a:pPr>
              <a:defRPr/>
            </a:pPr>
            <a:r>
              <a:rPr lang="zh-CN" altLang="en-US"/>
              <a:t>完成目标进度图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11616688538932633"/>
          <c:y val="0.22407407407407393"/>
          <c:w val="0.60308311461067365"/>
          <c:h val="0.688194444444445"/>
        </c:manualLayout>
      </c:layout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增量式开发(%)</c:v>
                </c:pt>
              </c:strCache>
            </c:strRef>
          </c:tx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0</c:v>
                </c:pt>
                <c:pt idx="1">
                  <c:v>s1</c:v>
                </c:pt>
                <c:pt idx="2">
                  <c:v>s2</c:v>
                </c:pt>
                <c:pt idx="3">
                  <c:v>s3</c:v>
                </c:pt>
                <c:pt idx="4">
                  <c:v>s4</c:v>
                </c:pt>
                <c:pt idx="5">
                  <c:v>s5</c:v>
                </c:pt>
                <c:pt idx="6">
                  <c:v>s6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50</c:v>
                </c:pt>
                <c:pt idx="5">
                  <c:v>50</c:v>
                </c:pt>
                <c:pt idx="6">
                  <c:v>10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迭代式开发(%)</c:v>
                </c:pt>
              </c:strCache>
            </c:strRef>
          </c:tx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0</c:v>
                </c:pt>
                <c:pt idx="1">
                  <c:v>s1</c:v>
                </c:pt>
                <c:pt idx="2">
                  <c:v>s2</c:v>
                </c:pt>
                <c:pt idx="3">
                  <c:v>s3</c:v>
                </c:pt>
                <c:pt idx="4">
                  <c:v>s4</c:v>
                </c:pt>
                <c:pt idx="5">
                  <c:v>s5</c:v>
                </c:pt>
                <c:pt idx="6">
                  <c:v>s6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60</c:v>
                </c:pt>
                <c:pt idx="2">
                  <c:v>85</c:v>
                </c:pt>
                <c:pt idx="3">
                  <c:v>10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预期(%)</c:v>
                </c:pt>
              </c:strCache>
            </c:strRef>
          </c:tx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0</c:v>
                </c:pt>
                <c:pt idx="1">
                  <c:v>s1</c:v>
                </c:pt>
                <c:pt idx="2">
                  <c:v>s2</c:v>
                </c:pt>
                <c:pt idx="3">
                  <c:v>s3</c:v>
                </c:pt>
                <c:pt idx="4">
                  <c:v>s4</c:v>
                </c:pt>
                <c:pt idx="5">
                  <c:v>s5</c:v>
                </c:pt>
                <c:pt idx="6">
                  <c:v>s6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</c:v>
                </c:pt>
                <c:pt idx="1">
                  <c:v>25</c:v>
                </c:pt>
                <c:pt idx="2">
                  <c:v>50</c:v>
                </c:pt>
                <c:pt idx="3">
                  <c:v>75</c:v>
                </c:pt>
                <c:pt idx="4">
                  <c:v>100</c:v>
                </c:pt>
              </c:numCache>
            </c:numRef>
          </c:val>
        </c:ser>
        <c:marker val="1"/>
        <c:axId val="33915648"/>
        <c:axId val="33917184"/>
      </c:lineChart>
      <c:catAx>
        <c:axId val="33915648"/>
        <c:scaling>
          <c:orientation val="minMax"/>
        </c:scaling>
        <c:axPos val="b"/>
        <c:tickLblPos val="nextTo"/>
        <c:crossAx val="33917184"/>
        <c:crosses val="autoZero"/>
        <c:auto val="1"/>
        <c:lblAlgn val="ctr"/>
        <c:lblOffset val="100"/>
      </c:catAx>
      <c:valAx>
        <c:axId val="33917184"/>
        <c:scaling>
          <c:orientation val="minMax"/>
        </c:scaling>
        <c:axPos val="l"/>
        <c:majorGridlines/>
        <c:numFmt formatCode="General" sourceLinked="1"/>
        <c:tickLblPos val="nextTo"/>
        <c:crossAx val="33915648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title>
      <c:tx>
        <c:rich>
          <a:bodyPr/>
          <a:lstStyle/>
          <a:p>
            <a:pPr>
              <a:defRPr/>
            </a:pPr>
            <a:r>
              <a:rPr lang="zh-CN" altLang="en-US"/>
              <a:t>开发人力图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7.2097331583552082E-2"/>
          <c:y val="0.20555555555555555"/>
          <c:w val="0.54456933508311467"/>
          <c:h val="0.688194444444445"/>
        </c:manualLayout>
      </c:layout>
      <c:lineChart>
        <c:grouping val="standard"/>
        <c:ser>
          <c:idx val="0"/>
          <c:order val="0"/>
          <c:tx>
            <c:strRef>
              <c:f>Sheet1!$E$1</c:f>
              <c:strCache>
                <c:ptCount val="1"/>
                <c:pt idx="0">
                  <c:v>增量式开发(人数)</c:v>
                </c:pt>
              </c:strCache>
            </c:strRef>
          </c:tx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0</c:v>
                </c:pt>
                <c:pt idx="1">
                  <c:v>s1</c:v>
                </c:pt>
                <c:pt idx="2">
                  <c:v>s2</c:v>
                </c:pt>
                <c:pt idx="3">
                  <c:v>s3</c:v>
                </c:pt>
                <c:pt idx="4">
                  <c:v>s4</c:v>
                </c:pt>
                <c:pt idx="5">
                  <c:v>s5</c:v>
                </c:pt>
                <c:pt idx="6">
                  <c:v>s6</c:v>
                </c:pt>
              </c:strCache>
            </c:strRef>
          </c:cat>
          <c:val>
            <c:numRef>
              <c:f>Sheet1!$E$2:$E$8</c:f>
              <c:numCache>
                <c:formatCode>General</c:formatCode>
                <c:ptCount val="7"/>
                <c:pt idx="0">
                  <c:v>0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10</c:v>
                </c:pt>
                <c:pt idx="6">
                  <c:v>10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迭代式开发（人数）</c:v>
                </c:pt>
              </c:strCache>
            </c:strRef>
          </c:tx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0</c:v>
                </c:pt>
                <c:pt idx="1">
                  <c:v>s1</c:v>
                </c:pt>
                <c:pt idx="2">
                  <c:v>s2</c:v>
                </c:pt>
                <c:pt idx="3">
                  <c:v>s3</c:v>
                </c:pt>
                <c:pt idx="4">
                  <c:v>s4</c:v>
                </c:pt>
                <c:pt idx="5">
                  <c:v>s5</c:v>
                </c:pt>
                <c:pt idx="6">
                  <c:v>s6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3</c:v>
                </c:pt>
                <c:pt idx="4">
                  <c:v>1</c:v>
                </c:pt>
              </c:numCache>
            </c:numRef>
          </c:val>
        </c:ser>
        <c:marker val="1"/>
        <c:axId val="33942144"/>
        <c:axId val="34611584"/>
      </c:lineChart>
      <c:catAx>
        <c:axId val="33942144"/>
        <c:scaling>
          <c:orientation val="minMax"/>
        </c:scaling>
        <c:axPos val="b"/>
        <c:tickLblPos val="nextTo"/>
        <c:crossAx val="34611584"/>
        <c:crosses val="autoZero"/>
        <c:auto val="1"/>
        <c:lblAlgn val="ctr"/>
        <c:lblOffset val="100"/>
      </c:catAx>
      <c:valAx>
        <c:axId val="34611584"/>
        <c:scaling>
          <c:orientation val="minMax"/>
        </c:scaling>
        <c:axPos val="l"/>
        <c:majorGridlines/>
        <c:numFmt formatCode="General" sourceLinked="1"/>
        <c:tickLblPos val="nextTo"/>
        <c:crossAx val="33942144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title>
      <c:tx>
        <c:rich>
          <a:bodyPr/>
          <a:lstStyle/>
          <a:p>
            <a:pPr>
              <a:defRPr/>
            </a:pPr>
            <a:r>
              <a:rPr lang="zh-CN" altLang="en-US" dirty="0" smtClean="0"/>
              <a:t>卖家</a:t>
            </a:r>
            <a:r>
              <a:rPr lang="zh-CN" altLang="en-US" dirty="0"/>
              <a:t>工作台交付周期</a:t>
            </a:r>
            <a:r>
              <a:rPr lang="en-US" altLang="zh-CN" dirty="0"/>
              <a:t>(</a:t>
            </a:r>
            <a:r>
              <a:rPr lang="zh-CN" altLang="en-US" dirty="0"/>
              <a:t>周</a:t>
            </a:r>
            <a:r>
              <a:rPr lang="en-US" altLang="zh-CN" dirty="0"/>
              <a:t>)</a:t>
            </a:r>
          </a:p>
        </c:rich>
      </c:tx>
      <c:layout/>
    </c:title>
    <c:plotArea>
      <c:layout/>
      <c:barChart>
        <c:barDir val="bar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卖家工作台交付周期(周)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转型后</c:v>
                </c:pt>
                <c:pt idx="1">
                  <c:v>转型前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12</c:v>
                </c:pt>
              </c:numCache>
            </c:numRef>
          </c:val>
        </c:ser>
        <c:overlap val="100"/>
        <c:axId val="89449984"/>
        <c:axId val="89451904"/>
      </c:barChart>
      <c:catAx>
        <c:axId val="89449984"/>
        <c:scaling>
          <c:orientation val="minMax"/>
        </c:scaling>
        <c:axPos val="l"/>
        <c:tickLblPos val="nextTo"/>
        <c:crossAx val="89451904"/>
        <c:crosses val="autoZero"/>
        <c:auto val="1"/>
        <c:lblAlgn val="ctr"/>
        <c:lblOffset val="100"/>
      </c:catAx>
      <c:valAx>
        <c:axId val="89451904"/>
        <c:scaling>
          <c:orientation val="minMax"/>
        </c:scaling>
        <c:axPos val="b"/>
        <c:majorGridlines/>
        <c:numFmt formatCode="General" sourceLinked="1"/>
        <c:tickLblPos val="nextTo"/>
        <c:crossAx val="89449984"/>
        <c:crosses val="autoZero"/>
        <c:crossBetween val="between"/>
      </c:valAx>
    </c:plotArea>
    <c:legend>
      <c:legendPos val="r"/>
      <c:layout/>
    </c:legend>
    <c:plotVisOnly val="1"/>
  </c:chart>
  <c:txPr>
    <a:bodyPr/>
    <a:lstStyle/>
    <a:p>
      <a:pPr>
        <a:defRPr sz="1800"/>
      </a:pPr>
      <a:endParaRPr lang="zh-CN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title>
      <c:layout/>
    </c:title>
    <c:plotArea>
      <c:layout/>
      <c:barChart>
        <c:barDir val="bar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JOS交付周期(周)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转型后</c:v>
                </c:pt>
                <c:pt idx="1">
                  <c:v>转型前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</c:v>
                </c:pt>
                <c:pt idx="1">
                  <c:v>8</c:v>
                </c:pt>
              </c:numCache>
            </c:numRef>
          </c:val>
        </c:ser>
        <c:overlap val="100"/>
        <c:axId val="123977088"/>
        <c:axId val="124363904"/>
      </c:barChart>
      <c:catAx>
        <c:axId val="123977088"/>
        <c:scaling>
          <c:orientation val="minMax"/>
        </c:scaling>
        <c:axPos val="l"/>
        <c:tickLblPos val="nextTo"/>
        <c:crossAx val="124363904"/>
        <c:crosses val="autoZero"/>
        <c:auto val="1"/>
        <c:lblAlgn val="ctr"/>
        <c:lblOffset val="100"/>
      </c:catAx>
      <c:valAx>
        <c:axId val="124363904"/>
        <c:scaling>
          <c:orientation val="minMax"/>
        </c:scaling>
        <c:axPos val="b"/>
        <c:majorGridlines/>
        <c:numFmt formatCode="General" sourceLinked="1"/>
        <c:tickLblPos val="nextTo"/>
        <c:crossAx val="123977088"/>
        <c:crosses val="autoZero"/>
        <c:crossBetween val="between"/>
      </c:valAx>
    </c:plotArea>
    <c:legend>
      <c:legendPos val="r"/>
      <c:layout/>
    </c:legend>
    <c:plotVisOnly val="1"/>
  </c:chart>
  <c:txPr>
    <a:bodyPr/>
    <a:lstStyle/>
    <a:p>
      <a:pPr>
        <a:defRPr sz="1800"/>
      </a:pPr>
      <a:endParaRPr lang="zh-CN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4/7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856954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821051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split orient="vert"/>
      </p:transition>
    </mc:Choice>
    <mc:Fallback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1" name="think-cell Slide" r:id="rId4" imgW="360" imgH="360" progId="">
              <p:embed/>
            </p:oleObj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80905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xmlns="" val="16188364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xmlns="" val="33571834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v.jd.com/index.php/lesson/videoshow/vid/2083" TargetMode="External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zh-CN" dirty="0" smtClean="0"/>
              <a:t>敏捷模式助力研发团队转型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sz="2400" dirty="0" smtClean="0">
                <a:solidFill>
                  <a:srgbClr val="FFFF00"/>
                </a:solidFill>
              </a:rPr>
              <a:t>做正确的事 </a:t>
            </a:r>
            <a:r>
              <a:rPr lang="en-US" altLang="zh-CN" sz="3200" dirty="0" smtClean="0"/>
              <a:t>&gt;</a:t>
            </a:r>
            <a:r>
              <a:rPr lang="en-US" altLang="zh-CN" sz="2400" dirty="0" smtClean="0"/>
              <a:t> </a:t>
            </a:r>
            <a:r>
              <a:rPr lang="zh-CN" altLang="en-US" sz="2400" dirty="0" smtClean="0">
                <a:solidFill>
                  <a:schemeClr val="tx1"/>
                </a:solidFill>
              </a:rPr>
              <a:t>正确的做事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2014-5-19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228184" y="4509120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  <a:latin typeface="+mj-ea"/>
                <a:ea typeface="+mj-ea"/>
              </a:rPr>
              <a:t>技术研发管理部</a:t>
            </a:r>
          </a:p>
        </p:txBody>
      </p:sp>
    </p:spTree>
    <p:extLst>
      <p:ext uri="{BB962C8B-B14F-4D97-AF65-F5344CB8AC3E}">
        <p14:creationId xmlns:p14="http://schemas.microsoft.com/office/powerpoint/2010/main" xmlns="" val="4148613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zh-CN" altLang="en-US" dirty="0" smtClean="0"/>
              <a:t>质量在于反馈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5652120" y="980728"/>
            <a:ext cx="3275856" cy="5704629"/>
            <a:chOff x="5261972" y="0"/>
            <a:chExt cx="3882028" cy="6901381"/>
          </a:xfrm>
        </p:grpSpPr>
        <p:pic>
          <p:nvPicPr>
            <p:cNvPr id="7" name="Picture 2" descr="C:\Users\Administrator\AppData\Local\Microsoft\Windows\Temporary Internet Files\IMG_20140514_121729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261972" y="0"/>
              <a:ext cx="3882028" cy="6901381"/>
            </a:xfrm>
            <a:prstGeom prst="rect">
              <a:avLst/>
            </a:prstGeom>
            <a:noFill/>
          </p:spPr>
        </p:pic>
        <p:sp>
          <p:nvSpPr>
            <p:cNvPr id="8" name="右箭头 7"/>
            <p:cNvSpPr/>
            <p:nvPr/>
          </p:nvSpPr>
          <p:spPr>
            <a:xfrm rot="7523730">
              <a:off x="7620934" y="1327339"/>
              <a:ext cx="720080" cy="432048"/>
            </a:xfrm>
            <a:prstGeom prst="right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9" name="动作按钮: 声音 8">
              <a:hlinkClick r:id="" action="ppaction://noaction" highlightClick="1">
                <a:snd r:embed="rId3" name="applause.wav"/>
              </a:hlinkClick>
            </p:cNvPr>
            <p:cNvSpPr/>
            <p:nvPr/>
          </p:nvSpPr>
          <p:spPr>
            <a:xfrm rot="10343350">
              <a:off x="5399381" y="3901427"/>
              <a:ext cx="648072" cy="576064"/>
            </a:xfrm>
            <a:prstGeom prst="actionButtonSound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右箭头 9"/>
            <p:cNvSpPr/>
            <p:nvPr/>
          </p:nvSpPr>
          <p:spPr>
            <a:xfrm rot="7523730">
              <a:off x="6468806" y="823282"/>
              <a:ext cx="720080" cy="432048"/>
            </a:xfrm>
            <a:prstGeom prst="right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1" name="右箭头 10"/>
            <p:cNvSpPr/>
            <p:nvPr/>
          </p:nvSpPr>
          <p:spPr>
            <a:xfrm rot="355381">
              <a:off x="5312450" y="2528896"/>
              <a:ext cx="720080" cy="432048"/>
            </a:xfrm>
            <a:prstGeom prst="right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</p:grpSp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251520" y="2132856"/>
          <a:ext cx="471601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8008"/>
                <a:gridCol w="2358008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过去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现在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</a:t>
                      </a:r>
                      <a:r>
                        <a:rPr lang="zh-CN" altLang="en-US" dirty="0" smtClean="0"/>
                        <a:t>天</a:t>
                      </a:r>
                      <a:r>
                        <a:rPr lang="zh-CN" altLang="en-US" baseline="0" dirty="0" smtClean="0"/>
                        <a:t> </a:t>
                      </a:r>
                      <a:r>
                        <a:rPr lang="en-US" altLang="zh-CN" baseline="0" dirty="0" smtClean="0"/>
                        <a:t>--- 1</a:t>
                      </a:r>
                      <a:r>
                        <a:rPr lang="zh-CN" altLang="en-US" baseline="0" dirty="0" smtClean="0"/>
                        <a:t>个月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5</a:t>
                      </a:r>
                      <a:r>
                        <a:rPr lang="zh-CN" altLang="en-US" dirty="0" smtClean="0"/>
                        <a:t>分钟内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51520" y="1700808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缺陷反馈周期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特性开关工具已内部开源</a:t>
            </a:r>
            <a:endParaRPr lang="zh-CN" altLang="en-US" dirty="0"/>
          </a:p>
        </p:txBody>
      </p:sp>
      <p:pic>
        <p:nvPicPr>
          <p:cNvPr id="4" name="图片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2780928"/>
            <a:ext cx="9144000" cy="3456384"/>
          </a:xfrm>
          <a:prstGeom prst="rect">
            <a:avLst/>
          </a:prstGeom>
        </p:spPr>
      </p:pic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251520" y="1772816"/>
          <a:ext cx="471601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8008"/>
                <a:gridCol w="2358008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过去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现在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线上惊心修复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关掉开关找问题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340768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上线后问题修复方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精益创业 </a:t>
            </a:r>
            <a:r>
              <a:rPr lang="en-US" altLang="zh-CN" dirty="0" smtClean="0"/>
              <a:t>--- </a:t>
            </a:r>
            <a:r>
              <a:rPr lang="zh-CN" altLang="en-US" dirty="0" smtClean="0"/>
              <a:t>将决策权交给真实用户</a:t>
            </a:r>
            <a:endParaRPr lang="zh-CN" altLang="en-US" dirty="0"/>
          </a:p>
        </p:txBody>
      </p:sp>
      <p:pic>
        <p:nvPicPr>
          <p:cNvPr id="4098" name="Picture 2" descr="http://www.cfanz.cn/uploads/png/2013/07/15/14/X908O1MP9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1124744"/>
            <a:ext cx="7128792" cy="5432807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2639934" y="3212976"/>
            <a:ext cx="1415772" cy="830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zh-CN" altLang="en-US" sz="2400" b="1" dirty="0" smtClean="0">
                <a:latin typeface="+mj-ea"/>
                <a:ea typeface="+mj-ea"/>
              </a:rPr>
              <a:t>影响地图</a:t>
            </a:r>
            <a:endParaRPr lang="en-US" altLang="zh-CN" sz="2400" b="1" dirty="0" smtClean="0">
              <a:latin typeface="+mj-ea"/>
              <a:ea typeface="+mj-ea"/>
            </a:endParaRPr>
          </a:p>
          <a:p>
            <a:pPr algn="ctr"/>
            <a:r>
              <a:rPr lang="zh-CN" altLang="en-US" sz="2400" b="1" dirty="0" smtClean="0">
                <a:latin typeface="+mj-ea"/>
                <a:ea typeface="+mj-ea"/>
              </a:rPr>
              <a:t>精益画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5496" y="66617"/>
            <a:ext cx="8772942" cy="756000"/>
          </a:xfrm>
        </p:spPr>
        <p:txBody>
          <a:bodyPr/>
          <a:lstStyle/>
          <a:p>
            <a:r>
              <a:rPr lang="zh-CN" altLang="en-US" dirty="0" smtClean="0"/>
              <a:t>持续关注</a:t>
            </a:r>
            <a:r>
              <a:rPr lang="zh-CN" altLang="en-US" sz="3600" b="1" dirty="0" smtClean="0"/>
              <a:t>价值</a:t>
            </a:r>
            <a:r>
              <a:rPr lang="zh-CN" altLang="en-US" dirty="0" smtClean="0"/>
              <a:t>和</a:t>
            </a:r>
            <a:r>
              <a:rPr lang="zh-CN" altLang="en-US" sz="3600" b="1" dirty="0" smtClean="0"/>
              <a:t>团队</a:t>
            </a:r>
            <a:r>
              <a:rPr lang="zh-CN" altLang="en-US" dirty="0" smtClean="0"/>
              <a:t>是产品成功的保障</a:t>
            </a:r>
            <a:endParaRPr lang="zh-CN" alt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31839" y="3870340"/>
            <a:ext cx="2974686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C:\Users\Administrator\AppData\Roaming\Tencent\Users\55073531\QQ\WinTemp\RichOle\[24M@{VFVS9P28K$MVTAT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8183" y="1412775"/>
            <a:ext cx="2737457" cy="1944216"/>
          </a:xfrm>
          <a:prstGeom prst="rect">
            <a:avLst/>
          </a:prstGeom>
          <a:noFill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1" y="1340767"/>
            <a:ext cx="2736304" cy="206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3870341"/>
            <a:ext cx="2664296" cy="200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831" y="1412775"/>
            <a:ext cx="304423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00191" y="3870340"/>
            <a:ext cx="2703573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899591" y="908719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急速沟通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67943" y="98072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计划风暴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164287" y="980727"/>
            <a:ext cx="1393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+mj-ea"/>
                <a:ea typeface="+mj-ea"/>
              </a:rPr>
              <a:t>10</a:t>
            </a:r>
            <a:r>
              <a:rPr lang="zh-CN" altLang="en-US" b="1" dirty="0" smtClean="0">
                <a:latin typeface="+mj-ea"/>
                <a:ea typeface="+mj-ea"/>
              </a:rPr>
              <a:t>分钟立会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71599" y="351030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回顾反思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79911" y="3501008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跨职能特种部队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64287" y="351030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代码赌场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691680" y="6021288"/>
            <a:ext cx="61546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团队自拍视频：</a:t>
            </a:r>
            <a:endParaRPr lang="en-US" altLang="zh-CN" b="1" dirty="0" smtClean="0">
              <a:latin typeface="+mj-ea"/>
              <a:ea typeface="+mj-ea"/>
            </a:endParaRPr>
          </a:p>
          <a:p>
            <a:r>
              <a:rPr lang="en-US" altLang="zh-CN" dirty="0" smtClean="0">
                <a:latin typeface="+mj-ea"/>
                <a:ea typeface="+mj-ea"/>
                <a:hlinkClick r:id="rId8"/>
              </a:rPr>
              <a:t>http://v.jd.com/index.php/lesson/videoshow/vid/2083</a:t>
            </a:r>
            <a:endParaRPr lang="en-US" altLang="zh-CN" dirty="0" smtClean="0">
              <a:latin typeface="+mj-ea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908720"/>
            <a:ext cx="8424936" cy="5949280"/>
          </a:xfrm>
        </p:spPr>
        <p:txBody>
          <a:bodyPr>
            <a:normAutofit fontScale="92500"/>
          </a:bodyPr>
          <a:lstStyle/>
          <a:p>
            <a:r>
              <a:rPr lang="zh-CN" altLang="en-US" dirty="0" smtClean="0"/>
              <a:t>高管团队支持研发团队持续变革，设立最具影响力技术团队大奖，包括：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跨职能小团队内影响力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事业部内影响力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研发部内影响力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业界影响力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创立最佳敏捷团队大奖，老李亲自签名并颁发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按照创造价值多少</a:t>
            </a:r>
            <a:r>
              <a:rPr lang="en-US" altLang="zh-CN" dirty="0" smtClean="0"/>
              <a:t>(money/outcome)</a:t>
            </a:r>
            <a:r>
              <a:rPr lang="zh-CN" altLang="en-US" dirty="0" smtClean="0"/>
              <a:t>设立</a:t>
            </a:r>
            <a:r>
              <a:rPr lang="en-US" altLang="zh-CN" dirty="0" smtClean="0"/>
              <a:t>KPI</a:t>
            </a:r>
            <a:r>
              <a:rPr lang="zh-CN" altLang="en-US" dirty="0" smtClean="0"/>
              <a:t>，而不是按照做的活多少（</a:t>
            </a:r>
            <a:r>
              <a:rPr lang="en-US" altLang="zh-CN" dirty="0" smtClean="0"/>
              <a:t>more than output</a:t>
            </a:r>
            <a:r>
              <a:rPr lang="zh-CN" altLang="en-US" dirty="0" smtClean="0"/>
              <a:t>）设立</a:t>
            </a:r>
            <a:r>
              <a:rPr lang="en-US" altLang="zh-CN" dirty="0" smtClean="0"/>
              <a:t>KPI</a:t>
            </a:r>
            <a:r>
              <a:rPr lang="zh-CN" altLang="en-US" dirty="0" smtClean="0"/>
              <a:t>。让每个人都关注价值。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增加</a:t>
            </a:r>
            <a:r>
              <a:rPr lang="en-US" altLang="zh-CN" dirty="0" smtClean="0"/>
              <a:t>Scrum Master</a:t>
            </a:r>
            <a:r>
              <a:rPr lang="zh-CN" altLang="en-US" dirty="0" smtClean="0"/>
              <a:t>和</a:t>
            </a:r>
            <a:r>
              <a:rPr lang="en-US" altLang="zh-CN" dirty="0" smtClean="0"/>
              <a:t>Product Owner</a:t>
            </a:r>
            <a:r>
              <a:rPr lang="zh-CN" altLang="en-US" b="1" dirty="0" smtClean="0"/>
              <a:t>官方</a:t>
            </a:r>
            <a:r>
              <a:rPr lang="zh-CN" altLang="en-US" dirty="0" smtClean="0"/>
              <a:t>认证培训预算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启动研发组织变革战略规划</a:t>
            </a:r>
            <a:endParaRPr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建议</a:t>
            </a: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内容占位符 3" descr="IMG_20130125_154802[1]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43104" y="1124744"/>
            <a:ext cx="8821384" cy="4962028"/>
          </a:xfr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星星之火正在燎原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6237312"/>
            <a:ext cx="8263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他们是京东最早“吃螃蟹”的人，如今他们已经是京东敏捷精神的主要传播者！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467544" y="5661248"/>
            <a:ext cx="34099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000" b="1" dirty="0">
                <a:ea typeface="宋体" pitchFamily="2" charset="-122"/>
              </a:rPr>
              <a:t>京东商城高级副总裁  李大学</a:t>
            </a:r>
            <a:endParaRPr lang="zh-CN" altLang="en-US" sz="2000" dirty="0">
              <a:ea typeface="宋体" pitchFamily="2" charset="-122"/>
            </a:endParaRPr>
          </a:p>
        </p:txBody>
      </p:sp>
      <p:pic>
        <p:nvPicPr>
          <p:cNvPr id="6" name="图片 4" descr="sp-studi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2132856"/>
            <a:ext cx="3456632" cy="3456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圆角矩形标注 8"/>
          <p:cNvSpPr/>
          <p:nvPr/>
        </p:nvSpPr>
        <p:spPr bwMode="auto">
          <a:xfrm>
            <a:off x="4355976" y="1700808"/>
            <a:ext cx="4536504" cy="3384376"/>
          </a:xfrm>
          <a:prstGeom prst="wedgeRoundRectCallout">
            <a:avLst>
              <a:gd name="adj1" fmla="val -90758"/>
              <a:gd name="adj2" fmla="val 22473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>
              <a:buNone/>
            </a:pPr>
            <a:r>
              <a:rPr lang="zh-CN" altLang="en-US" sz="2800" b="1" dirty="0" smtClean="0">
                <a:ea typeface="宋体" pitchFamily="2" charset="-122"/>
              </a:rPr>
              <a:t>“敏捷是一种方法，更是一种组织能力。那些不懂得敏捷不利用敏捷方法的研发团队，最终将在快速变化、竞争激烈的互联网环境中落败。拥抱敏捷吧，从现在开始！”</a:t>
            </a:r>
            <a:endParaRPr lang="zh-CN" altLang="en-US" sz="2800" dirty="0" smtClean="0">
              <a:ea typeface="宋体" pitchFamily="2" charset="-122"/>
            </a:endParaRPr>
          </a:p>
        </p:txBody>
      </p:sp>
      <p:sp>
        <p:nvSpPr>
          <p:cNvPr id="10" name="标题 2"/>
          <p:cNvSpPr>
            <a:spLocks noGrp="1"/>
          </p:cNvSpPr>
          <p:nvPr>
            <p:ph type="title"/>
          </p:nvPr>
        </p:nvSpPr>
        <p:spPr>
          <a:xfrm>
            <a:off x="35496" y="66617"/>
            <a:ext cx="8772942" cy="756000"/>
          </a:xfrm>
        </p:spPr>
        <p:txBody>
          <a:bodyPr>
            <a:normAutofit/>
          </a:bodyPr>
          <a:lstStyle/>
          <a:p>
            <a:r>
              <a:rPr lang="zh-CN" altLang="en-US" sz="2800" b="1" dirty="0" smtClean="0"/>
              <a:t>老李语录</a:t>
            </a:r>
            <a:r>
              <a:rPr lang="en-US" altLang="zh-CN" sz="2800" b="1" dirty="0" smtClean="0"/>
              <a:t>(</a:t>
            </a:r>
            <a:r>
              <a:rPr lang="zh-CN" altLang="en-US" sz="2800" b="1" dirty="0" smtClean="0"/>
              <a:t>摘自</a:t>
            </a:r>
            <a:r>
              <a:rPr lang="en-US" altLang="zh-CN" sz="2800" b="1" dirty="0" smtClean="0"/>
              <a:t>《</a:t>
            </a:r>
            <a:r>
              <a:rPr lang="zh-CN" altLang="en-US" sz="2800" b="1" dirty="0" smtClean="0"/>
              <a:t>敏捷一千零一夜</a:t>
            </a:r>
            <a:r>
              <a:rPr lang="en-US" altLang="zh-CN" sz="2800" b="1" dirty="0" smtClean="0"/>
              <a:t>》</a:t>
            </a:r>
            <a:r>
              <a:rPr lang="zh-CN" altLang="en-US" sz="2800" b="1" dirty="0" smtClean="0"/>
              <a:t>推荐序</a:t>
            </a:r>
            <a:r>
              <a:rPr lang="en-US" altLang="zh-CN" sz="2800" b="1" dirty="0" smtClean="0"/>
              <a:t>)</a:t>
            </a:r>
            <a:endParaRPr lang="zh-CN" altLang="en-US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 smtClean="0"/>
              <a:t>成为一名教练要靠自己，我们只提供土壤</a:t>
            </a:r>
            <a:endParaRPr lang="zh-CN" altLang="en-US" sz="2800" dirty="0"/>
          </a:p>
        </p:txBody>
      </p:sp>
      <p:sp>
        <p:nvSpPr>
          <p:cNvPr id="6" name="内容占位符 8"/>
          <p:cNvSpPr>
            <a:spLocks noGrp="1"/>
          </p:cNvSpPr>
          <p:nvPr>
            <p:ph idx="1"/>
          </p:nvPr>
        </p:nvSpPr>
        <p:spPr>
          <a:xfrm>
            <a:off x="0" y="931298"/>
            <a:ext cx="9144000" cy="576064"/>
          </a:xfr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>
              <a:buNone/>
            </a:pPr>
            <a:r>
              <a:rPr lang="zh-CN" altLang="en-US" sz="2800" b="1" dirty="0" smtClean="0">
                <a:latin typeface="Calibri" pitchFamily="34" charset="0"/>
                <a:ea typeface="宋体" charset="-122"/>
              </a:rPr>
              <a:t>交付</a:t>
            </a:r>
            <a:r>
              <a:rPr lang="zh-CN" altLang="en-US" sz="2800" b="1" dirty="0" smtClean="0">
                <a:solidFill>
                  <a:srgbClr val="FFFF00"/>
                </a:solidFill>
                <a:latin typeface="Calibri" pitchFamily="34" charset="0"/>
                <a:ea typeface="宋体" charset="-122"/>
              </a:rPr>
              <a:t>价值</a:t>
            </a:r>
            <a:r>
              <a:rPr lang="zh-CN" altLang="en-US" sz="2800" b="1" dirty="0" smtClean="0">
                <a:latin typeface="Calibri" pitchFamily="34" charset="0"/>
                <a:ea typeface="宋体" charset="-122"/>
              </a:rPr>
              <a:t>的同时，交付</a:t>
            </a:r>
            <a:r>
              <a:rPr lang="zh-CN" altLang="en-US" sz="2800" b="1" dirty="0" smtClean="0">
                <a:solidFill>
                  <a:srgbClr val="FFFF00"/>
                </a:solidFill>
                <a:latin typeface="Calibri" pitchFamily="34" charset="0"/>
                <a:ea typeface="宋体" charset="-122"/>
              </a:rPr>
              <a:t>高绩效</a:t>
            </a:r>
            <a:r>
              <a:rPr lang="zh-CN" altLang="en-US" sz="2800" b="1" dirty="0" smtClean="0">
                <a:latin typeface="Calibri" pitchFamily="34" charset="0"/>
                <a:ea typeface="宋体" charset="-122"/>
              </a:rPr>
              <a:t>团队</a:t>
            </a:r>
            <a:endParaRPr lang="en-US" altLang="zh-CN" sz="2800" b="1" dirty="0" smtClean="0">
              <a:latin typeface="Calibri" pitchFamily="34" charset="0"/>
              <a:ea typeface="宋体" charset="-122"/>
            </a:endParaRPr>
          </a:p>
        </p:txBody>
      </p:sp>
      <p:pic>
        <p:nvPicPr>
          <p:cNvPr id="7" name="Picture 2" descr="http://pascalobservatory.org/sites/default/files/pathimages/teamwork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84784"/>
            <a:ext cx="2211982" cy="1944216"/>
          </a:xfrm>
          <a:prstGeom prst="rect">
            <a:avLst/>
          </a:prstGeom>
          <a:noFill/>
        </p:spPr>
      </p:pic>
      <p:pic>
        <p:nvPicPr>
          <p:cNvPr id="8" name="Picture 4" descr="http://pauline-bennett.com/wp-content/uploads/2013/04/writing-mento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3501008"/>
            <a:ext cx="1770088" cy="1440160"/>
          </a:xfrm>
          <a:prstGeom prst="rect">
            <a:avLst/>
          </a:prstGeom>
          <a:noFill/>
        </p:spPr>
      </p:pic>
      <p:pic>
        <p:nvPicPr>
          <p:cNvPr id="9" name="Picture 6" descr="http://www.photographyvox.com/wp-content/uploads/digital.camera-buying-guid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4941168"/>
            <a:ext cx="1901011" cy="1584176"/>
          </a:xfrm>
          <a:prstGeom prst="rect">
            <a:avLst/>
          </a:prstGeom>
          <a:noFill/>
        </p:spPr>
      </p:pic>
      <p:sp>
        <p:nvSpPr>
          <p:cNvPr id="10" name="内容占位符 8"/>
          <p:cNvSpPr txBox="1">
            <a:spLocks/>
          </p:cNvSpPr>
          <p:nvPr/>
        </p:nvSpPr>
        <p:spPr>
          <a:xfrm>
            <a:off x="2051720" y="1772816"/>
            <a:ext cx="6552728" cy="5229200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阿米巴团队导师</a:t>
            </a:r>
            <a:endParaRPr kumimoji="0" lang="en-US" altLang="zh-CN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让小而美的阿米巴能真正</a:t>
            </a: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落地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（商家工作台、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JOS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、故事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APP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、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EC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等）</a:t>
            </a: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引导团队如何识别和交付</a:t>
            </a: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价值</a:t>
            </a:r>
            <a:endParaRPr kumimoji="0" lang="en-US" altLang="zh-CN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引导团队如何</a:t>
            </a: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自组织</a:t>
            </a:r>
            <a:endParaRPr kumimoji="0" lang="en-US" altLang="zh-CN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zh-C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研发团队成员教头</a:t>
            </a:r>
            <a:endParaRPr kumimoji="0" lang="en-US" altLang="zh-CN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传授技术工程实践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(TDD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、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CI/CD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、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ATDD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、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PP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  </a:t>
            </a:r>
            <a:r>
              <a:rPr kumimoji="0" lang="en-US" altLang="zh-CN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etc.)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心里辅导</a:t>
            </a: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沟通与协作</a:t>
            </a:r>
            <a:endParaRPr kumimoji="0" lang="en-US" alt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经理们的向导</a:t>
            </a:r>
            <a:endParaRPr kumimoji="0" lang="en-US" altLang="zh-CN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指导产品经理、职能经理和项目经理识别</a:t>
            </a: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正确的事</a:t>
            </a:r>
            <a:r>
              <a:rPr kumimoji="0" lang="zh-CN" alt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的方法</a:t>
            </a:r>
            <a:endParaRPr kumimoji="0" lang="en-US" altLang="zh-CN" sz="200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领导力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修炼</a:t>
            </a:r>
            <a:endParaRPr kumimoji="0" lang="en-US" alt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管理环境</a:t>
            </a: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让团队成功</a:t>
            </a: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  <a:p>
            <a:pPr marL="742950" marR="0" lvl="1" indent="-28575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itchFamily="34" charset="0"/>
                <a:ea typeface="宋体" charset="-122"/>
                <a:cs typeface="+mn-cs"/>
              </a:rPr>
              <a:t>引导技术</a:t>
            </a:r>
            <a:endParaRPr kumimoji="0" lang="en-US" alt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宋体" charset="-122"/>
              <a:cs typeface="+mn-cs"/>
            </a:endParaRPr>
          </a:p>
        </p:txBody>
      </p:sp>
      <p:sp>
        <p:nvSpPr>
          <p:cNvPr id="11" name="圆角矩形 10"/>
          <p:cNvSpPr/>
          <p:nvPr/>
        </p:nvSpPr>
        <p:spPr bwMode="auto">
          <a:xfrm>
            <a:off x="6479704" y="6353944"/>
            <a:ext cx="2664296" cy="50405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40" tIns="45720" rIns="91440" bIns="45720" numCol="1" spcCol="0" rtlCol="0" fromWordArt="1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chemeClr val="tx2">
                    <a:lumMod val="60000"/>
                    <a:lumOff val="40000"/>
                  </a:schemeClr>
                </a:solidFill>
                <a:latin typeface="微软雅黑" pitchFamily="34" charset="-122"/>
                <a:ea typeface="微软雅黑" pitchFamily="34" charset="-122"/>
                <a:cs typeface="Arial"/>
              </a:rPr>
              <a:t>价值与创新方法布道师</a:t>
            </a:r>
            <a:endParaRPr lang="zh-CN" altLang="en-US" sz="1800" b="0" kern="10" dirty="0" smtClean="0">
              <a:ln w="9525">
                <a:solidFill>
                  <a:srgbClr val="000000"/>
                </a:solidFill>
                <a:round/>
                <a:headEnd/>
                <a:tailEnd/>
              </a:ln>
              <a:solidFill>
                <a:schemeClr val="tx2">
                  <a:lumMod val="60000"/>
                  <a:lumOff val="40000"/>
                </a:schemeClr>
              </a:solidFill>
              <a:latin typeface="微软雅黑" pitchFamily="34" charset="-122"/>
              <a:ea typeface="微软雅黑" pitchFamily="34" charset="-1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0151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2309025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54830151"/>
              </p:ext>
            </p:extLst>
          </p:nvPr>
        </p:nvGraphicFramePr>
        <p:xfrm>
          <a:off x="467544" y="548680"/>
          <a:ext cx="8098600" cy="53029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384"/>
                <a:gridCol w="865888"/>
                <a:gridCol w="865888"/>
                <a:gridCol w="865888"/>
                <a:gridCol w="865888"/>
                <a:gridCol w="865888"/>
                <a:gridCol w="865888"/>
                <a:gridCol w="865888"/>
              </a:tblGrid>
              <a:tr h="86114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、产品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按时结项</a:t>
                      </a:r>
                      <a:endParaRPr lang="en-US" altLang="zh-CN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en-US" altLang="zh-CN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(</a:t>
                      </a:r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是</a:t>
                      </a:r>
                      <a:r>
                        <a:rPr lang="en-US" altLang="zh-CN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否</a:t>
                      </a:r>
                      <a:r>
                        <a:rPr lang="en-US" altLang="zh-CN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)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项目规模</a:t>
                      </a:r>
                      <a:endParaRPr lang="en-US" altLang="zh-CN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（人月）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线</a:t>
                      </a:r>
                      <a:endParaRPr lang="en-US" altLang="zh-CN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次数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首次上线</a:t>
                      </a:r>
                      <a:endParaRPr lang="en-US" altLang="zh-CN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成功数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满意度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测试缺陷数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线后</a:t>
                      </a:r>
                      <a:r>
                        <a:rPr lang="en-US" altLang="zh-CN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OE</a:t>
                      </a:r>
                      <a:r>
                        <a:rPr lang="zh-CN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级缺陷数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38290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商家工作台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5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20+</a:t>
                      </a:r>
                      <a:endParaRPr lang="zh-CN" altLang="en-US" sz="1400" b="0" i="0" u="none" strike="noStrike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00%</a:t>
                      </a:r>
                    </a:p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35477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JOS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40+</a:t>
                      </a:r>
                      <a:endParaRPr lang="zh-CN" altLang="en-US" sz="1400" b="0" i="0" u="none" strike="noStrike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00%</a:t>
                      </a:r>
                      <a:endParaRPr lang="zh-CN" altLang="en-US" sz="1400" b="0" i="0" u="none" strike="noStrike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327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电子发票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是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2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5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00%</a:t>
                      </a:r>
                      <a:endParaRPr lang="zh-CN" altLang="en-US" sz="1400" b="0" i="0" u="none" strike="noStrike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327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延保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是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5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00%</a:t>
                      </a:r>
                      <a:endParaRPr lang="zh-CN" altLang="en-US" sz="1400" b="0" i="0" u="none" strike="noStrike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967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电商云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4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5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00%</a:t>
                      </a:r>
                      <a:endParaRPr lang="zh-CN" altLang="en-US" sz="1400" b="0" i="0" u="none" strike="noStrike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967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京东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ME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00%</a:t>
                      </a:r>
                      <a:endParaRPr lang="zh-CN" altLang="en-US" sz="1400" b="0" i="0" u="none" strike="noStrike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0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3276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网银在线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0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967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眼镜试戴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是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967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妈妈我要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是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j-ea"/>
                          <a:ea typeface="+mj-ea"/>
                        </a:rPr>
                        <a:t>10+</a:t>
                      </a:r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高</a:t>
                      </a:r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32760"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9674"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0" i="0" u="none" strike="noStrike" dirty="0">
                        <a:solidFill>
                          <a:srgbClr val="C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0" i="0" u="none" strike="noStrike" dirty="0">
                        <a:solidFill>
                          <a:srgbClr val="C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0" i="0" u="none" strike="noStrike" dirty="0">
                        <a:solidFill>
                          <a:srgbClr val="C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0" i="0" u="none" strike="noStrike" dirty="0">
                        <a:solidFill>
                          <a:srgbClr val="C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b="0" dirty="0">
                        <a:solidFill>
                          <a:srgbClr val="C00000"/>
                        </a:solidFill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b="0" dirty="0">
                        <a:solidFill>
                          <a:srgbClr val="C00000"/>
                        </a:solidFill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b="0" dirty="0">
                        <a:solidFill>
                          <a:srgbClr val="C00000"/>
                        </a:solidFill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b="0" dirty="0">
                        <a:solidFill>
                          <a:srgbClr val="C00000"/>
                        </a:solidFill>
                      </a:endParaRPr>
                    </a:p>
                  </a:txBody>
                  <a:tcPr marL="7642" marR="7642" marT="7642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split orient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课件</a:t>
            </a:r>
            <a:r>
              <a:rPr lang="zh-CN" altLang="en-US" dirty="0" smtClean="0"/>
              <a:t>时</a:t>
            </a:r>
            <a:r>
              <a:rPr lang="zh-CN" altLang="en-US" dirty="0" smtClean="0"/>
              <a:t>长超过</a:t>
            </a:r>
            <a:r>
              <a:rPr lang="en-US" altLang="zh-CN" dirty="0" smtClean="0"/>
              <a:t>100</a:t>
            </a:r>
            <a:r>
              <a:rPr lang="zh-CN" altLang="en-US" dirty="0" smtClean="0"/>
              <a:t>小时</a:t>
            </a:r>
            <a:endParaRPr lang="zh-CN" altLang="en-US" dirty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179512" y="1063192"/>
          <a:ext cx="8784975" cy="5678176"/>
        </p:xfrm>
        <a:graphic>
          <a:graphicData uri="http://schemas.openxmlformats.org/drawingml/2006/table">
            <a:tbl>
              <a:tblPr/>
              <a:tblGrid>
                <a:gridCol w="1008112"/>
                <a:gridCol w="576064"/>
                <a:gridCol w="3096344"/>
                <a:gridCol w="3456384"/>
                <a:gridCol w="648071"/>
              </a:tblGrid>
              <a:tr h="242880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1" dirty="0">
                          <a:solidFill>
                            <a:srgbClr val="000000"/>
                          </a:solidFill>
                        </a:rPr>
                        <a:t>课程名</a:t>
                      </a:r>
                    </a:p>
                  </a:txBody>
                  <a:tcPr marL="24623" marR="52764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</a:rPr>
                        <a:t> 授课方式 </a:t>
                      </a:r>
                    </a:p>
                  </a:txBody>
                  <a:tcPr marL="24623" marR="52764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1" dirty="0">
                          <a:solidFill>
                            <a:srgbClr val="000000"/>
                          </a:solidFill>
                        </a:rPr>
                        <a:t>受众</a:t>
                      </a:r>
                    </a:p>
                  </a:txBody>
                  <a:tcPr marL="24623" marR="52764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</a:rPr>
                        <a:t>简介</a:t>
                      </a:r>
                    </a:p>
                  </a:txBody>
                  <a:tcPr marL="24623" marR="52764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</a:rPr>
                        <a:t>时间盒</a:t>
                      </a:r>
                    </a:p>
                  </a:txBody>
                  <a:tcPr marL="24623" marR="52764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</a:tr>
              <a:tr h="64332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认证</a:t>
                      </a:r>
                      <a:r>
                        <a:rPr lang="en-US" sz="900" b="0">
                          <a:solidFill>
                            <a:srgbClr val="333333"/>
                          </a:solidFill>
                        </a:rPr>
                        <a:t>Scrum Product Owner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产品经理、业务方负责人、需求分析师、资深测试专家、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UX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scrum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介绍、通过模拟项目来学习如何从愿景提炼出需求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backlog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，如何维护和跟踪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backlog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，如何与团队高效协作等等 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2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天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43102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000000"/>
                          </a:solidFill>
                        </a:rPr>
                        <a:t>认证</a:t>
                      </a:r>
                      <a:r>
                        <a:rPr lang="en-US" sz="900" b="0">
                          <a:solidFill>
                            <a:srgbClr val="000000"/>
                          </a:solidFill>
                        </a:rPr>
                        <a:t>Scrum Master</a:t>
                      </a:r>
                      <a:endParaRPr 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团队管理者、团队引导者、项目经理、资深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SQA/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测试专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scrum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介绍，通过模拟项目来操练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scrum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，各种敏捷聚会，可视化管理等等 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2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天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089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认证</a:t>
                      </a:r>
                      <a:r>
                        <a:rPr lang="en-US" sz="900" b="0" dirty="0">
                          <a:solidFill>
                            <a:srgbClr val="333333"/>
                          </a:solidFill>
                        </a:rPr>
                        <a:t>Kanban Facilitator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团队管理者、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Scrum Master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、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Product Owner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、开发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/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测试、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UX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、业务方负责人、架构师、运营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/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运维、战略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/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规划者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看板介绍、价值流、在制品</a:t>
                      </a:r>
                      <a:r>
                        <a:rPr lang="en-US" altLang="zh-CN" sz="900" b="0" dirty="0">
                          <a:solidFill>
                            <a:srgbClr val="333333"/>
                          </a:solidFill>
                        </a:rPr>
                        <a:t>(WIP)</a:t>
                      </a: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、“</a:t>
                      </a:r>
                      <a:r>
                        <a:rPr lang="en-US" altLang="zh-CN" sz="900" b="0" dirty="0">
                          <a:solidFill>
                            <a:srgbClr val="333333"/>
                          </a:solidFill>
                        </a:rPr>
                        <a:t>Done”</a:t>
                      </a: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的定义、</a:t>
                      </a:r>
                      <a:r>
                        <a:rPr lang="en-US" altLang="zh-CN" sz="900" b="0" dirty="0">
                          <a:solidFill>
                            <a:srgbClr val="333333"/>
                          </a:solidFill>
                        </a:rPr>
                        <a:t>Kanban</a:t>
                      </a: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游戏、乐高游戏模拟</a:t>
                      </a:r>
                      <a:r>
                        <a:rPr lang="en-US" altLang="zh-CN" sz="900" b="0" dirty="0">
                          <a:solidFill>
                            <a:srgbClr val="333333"/>
                          </a:solidFill>
                        </a:rPr>
                        <a:t>Kanban</a:t>
                      </a: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、团队群策群力、</a:t>
                      </a:r>
                      <a:r>
                        <a:rPr lang="en-US" altLang="zh-CN" sz="900" b="0" dirty="0">
                          <a:solidFill>
                            <a:srgbClr val="333333"/>
                          </a:solidFill>
                        </a:rPr>
                        <a:t>Kanban</a:t>
                      </a: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所带来的组织变革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1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天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687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烽火中的看板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研发团队、运营维护团队、产品团队、市场销售、培训团队 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价值流分析、看板三要素、看板制作，模拟体验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2.5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77868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精益乐高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所有人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推动与拉动系统、看板、系统思考、流、均衡生产、工作单元。全程模拟体验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短版：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1.5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长版：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3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2880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</a:rPr>
                        <a:t>Code Kata/Retreat/Dojo</a:t>
                      </a:r>
                      <a:endParaRPr 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000000"/>
                          </a:solidFill>
                        </a:rPr>
                        <a:t>研发、测试、架构</a:t>
                      </a:r>
                      <a:endParaRPr lang="zh-CN" alt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结伴编程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/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设计，测试驱动开发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3 - 4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2880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持续交付介绍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讲授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研发人员、发布人员、运维人员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部署流水线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1.5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4485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敏捷不是一个传说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讲授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所有人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敏捷开发全面观，包括管理实践和工程实践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2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4485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900" b="0">
                          <a:solidFill>
                            <a:srgbClr val="000000"/>
                          </a:solidFill>
                        </a:rPr>
                        <a:t>CI</a:t>
                      </a:r>
                      <a:r>
                        <a:rPr lang="zh-CN" altLang="en-US" sz="900" b="0">
                          <a:solidFill>
                            <a:srgbClr val="000000"/>
                          </a:solidFill>
                        </a:rPr>
                        <a:t>和</a:t>
                      </a:r>
                      <a:r>
                        <a:rPr lang="en-US" sz="900" b="0">
                          <a:solidFill>
                            <a:srgbClr val="000000"/>
                          </a:solidFill>
                        </a:rPr>
                        <a:t>TDD</a:t>
                      </a:r>
                      <a:r>
                        <a:rPr lang="zh-CN" altLang="en-US" sz="900" b="0">
                          <a:solidFill>
                            <a:srgbClr val="000000"/>
                          </a:solidFill>
                        </a:rPr>
                        <a:t>介绍</a:t>
                      </a:r>
                      <a:endParaRPr lang="zh-CN" alt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讲授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研发人员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持续集成、测试驱动开发、验收测试驱动开发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1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2880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FF0000"/>
                          </a:solidFill>
                        </a:rPr>
                        <a:t>敏捷回顾</a:t>
                      </a:r>
                      <a:endParaRPr lang="zh-CN" alt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000000"/>
                          </a:solidFill>
                        </a:rPr>
                        <a:t>团队管理者和引导者、</a:t>
                      </a:r>
                      <a:r>
                        <a:rPr lang="en-US" sz="900" b="0">
                          <a:solidFill>
                            <a:srgbClr val="000000"/>
                          </a:solidFill>
                        </a:rPr>
                        <a:t>Scrum Master </a:t>
                      </a:r>
                      <a:endParaRPr 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回顾过程、回顾工具箱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1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天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2880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1">
                          <a:solidFill>
                            <a:srgbClr val="333333"/>
                          </a:solidFill>
                        </a:rPr>
                        <a:t>敏捷与创意游戏风暴</a:t>
                      </a:r>
                      <a:endParaRPr lang="zh-CN" alt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所有人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精益、敏捷、创新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</a:rPr>
                        <a:t>∞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49292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FF0000"/>
                          </a:solidFill>
                        </a:rPr>
                        <a:t>自管理团队与一线经理</a:t>
                      </a:r>
                      <a:endParaRPr lang="zh-CN" altLang="en-US" sz="900" b="0">
                        <a:solidFill>
                          <a:srgbClr val="333333"/>
                        </a:solidFill>
                      </a:endParaRP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工作坊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团队管理者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授权、自组织、观察力、指导团队、团队动力、组织文化、工作方式、团队工作技能、承诺、健康冲突、领导力、精益敏捷中的经理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2 - 3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天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产品经理新时代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讲授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产品经理、业务分析师、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UX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精益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+UX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、精益创业、</a:t>
                      </a: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Scrum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中的产品负责人、看板驱动产品演进、企业级敏捷大图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>
                          <a:solidFill>
                            <a:srgbClr val="333333"/>
                          </a:solidFill>
                        </a:rPr>
                        <a:t>2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2880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敏捷项目管理介绍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讲授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项目经理、团队经理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900" b="0">
                          <a:solidFill>
                            <a:srgbClr val="333333"/>
                          </a:solidFill>
                        </a:rPr>
                        <a:t>scrum</a:t>
                      </a:r>
                      <a:r>
                        <a:rPr lang="zh-CN" altLang="en-US" sz="900" b="0">
                          <a:solidFill>
                            <a:srgbClr val="333333"/>
                          </a:solidFill>
                        </a:rPr>
                        <a:t>框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altLang="zh-CN" sz="900" b="0" dirty="0">
                          <a:solidFill>
                            <a:srgbClr val="333333"/>
                          </a:solidFill>
                        </a:rPr>
                        <a:t>1</a:t>
                      </a:r>
                      <a:r>
                        <a:rPr lang="zh-CN" altLang="en-US" sz="900" b="0" dirty="0">
                          <a:solidFill>
                            <a:srgbClr val="333333"/>
                          </a:solidFill>
                        </a:rPr>
                        <a:t>小时</a:t>
                      </a:r>
                    </a:p>
                  </a:txBody>
                  <a:tcPr marL="24623" marR="24623" marT="17588" marB="17588">
                    <a:lnL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346256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107504" y="2348880"/>
            <a:ext cx="5472608" cy="1656184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altLang="zh-CN" sz="2800" b="1" dirty="0" smtClean="0"/>
              <a:t>JOS</a:t>
            </a:r>
            <a:r>
              <a:rPr lang="zh-CN" altLang="en-US" sz="2800" dirty="0" smtClean="0"/>
              <a:t>：京东</a:t>
            </a:r>
            <a:r>
              <a:rPr lang="zh-CN" altLang="en-US" sz="2800" b="1" dirty="0" smtClean="0"/>
              <a:t>首个</a:t>
            </a:r>
            <a:r>
              <a:rPr lang="zh-CN" altLang="en-US" sz="2800" dirty="0" smtClean="0"/>
              <a:t>敏捷团队</a:t>
            </a:r>
            <a:endParaRPr lang="en-US" altLang="zh-CN" sz="2800" dirty="0" smtClean="0"/>
          </a:p>
          <a:p>
            <a:endParaRPr lang="en-US" altLang="zh-CN" sz="2800" dirty="0" smtClean="0"/>
          </a:p>
          <a:p>
            <a:pPr>
              <a:buNone/>
            </a:pPr>
            <a:r>
              <a:rPr lang="zh-CN" altLang="en-US" sz="2800" b="1" dirty="0" smtClean="0"/>
              <a:t>卖家工作台</a:t>
            </a:r>
            <a:r>
              <a:rPr lang="zh-CN" altLang="en-US" sz="2800" dirty="0" smtClean="0"/>
              <a:t>：</a:t>
            </a:r>
            <a:r>
              <a:rPr lang="en-US" altLang="zh-CN" sz="2800" dirty="0" smtClean="0"/>
              <a:t>CMO</a:t>
            </a:r>
            <a:r>
              <a:rPr lang="zh-CN" altLang="en-US" sz="2800" b="1" dirty="0" smtClean="0"/>
              <a:t>首个</a:t>
            </a:r>
            <a:r>
              <a:rPr lang="zh-CN" altLang="en-US" sz="2800" dirty="0" smtClean="0"/>
              <a:t>敏捷团队</a:t>
            </a:r>
            <a:endParaRPr lang="zh-CN" altLang="en-US" sz="28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持续变革团队 </a:t>
            </a:r>
            <a:r>
              <a:rPr lang="en-US" altLang="zh-CN" dirty="0" smtClean="0"/>
              <a:t>--- </a:t>
            </a:r>
            <a:r>
              <a:rPr lang="zh-CN" altLang="en-US" dirty="0" smtClean="0"/>
              <a:t>鹰的重生</a:t>
            </a:r>
            <a:r>
              <a:rPr lang="en-US" altLang="zh-CN" dirty="0" smtClean="0"/>
              <a:t>	</a:t>
            </a:r>
            <a:endParaRPr lang="zh-CN" altLang="en-US" dirty="0"/>
          </a:p>
        </p:txBody>
      </p:sp>
      <p:pic>
        <p:nvPicPr>
          <p:cNvPr id="21506" name="Picture 2" descr="http://xf.2000y.net/114271/uploadpic/201205200729323575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08104" y="1484784"/>
            <a:ext cx="3456384" cy="269641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 rot="21250033">
            <a:off x="747235" y="5109344"/>
            <a:ext cx="7263527" cy="8309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zh-CN" altLang="en-US" sz="2800" b="1" dirty="0" smtClean="0">
                <a:latin typeface="+mj-ea"/>
                <a:ea typeface="+mj-ea"/>
              </a:rPr>
              <a:t>两个团队成立两年，转型后离职率均为</a:t>
            </a:r>
            <a:r>
              <a:rPr lang="zh-CN" altLang="en-US" sz="4800" b="1" dirty="0" smtClean="0">
                <a:solidFill>
                  <a:srgbClr val="FFFF00"/>
                </a:solidFill>
                <a:latin typeface="+mj-ea"/>
                <a:ea typeface="+mj-ea"/>
              </a:rPr>
              <a:t>零</a:t>
            </a:r>
            <a:r>
              <a:rPr lang="zh-CN" altLang="en-US" sz="2800" b="1" dirty="0" smtClean="0">
                <a:latin typeface="+mj-ea"/>
                <a:ea typeface="+mj-ea"/>
              </a:rPr>
              <a:t>！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卖家工作台（原商家助手） </a:t>
            </a:r>
            <a:endParaRPr lang="zh-CN" altLang="en-US" dirty="0"/>
          </a:p>
        </p:txBody>
      </p:sp>
      <p:graphicFrame>
        <p:nvGraphicFramePr>
          <p:cNvPr id="6" name="图表 5"/>
          <p:cNvGraphicFramePr/>
          <p:nvPr/>
        </p:nvGraphicFramePr>
        <p:xfrm>
          <a:off x="0" y="980728"/>
          <a:ext cx="3960440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图表 7"/>
          <p:cNvGraphicFramePr/>
          <p:nvPr/>
        </p:nvGraphicFramePr>
        <p:xfrm>
          <a:off x="4860032" y="908720"/>
          <a:ext cx="3672408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0" y="4337720"/>
          <a:ext cx="453650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411760" y="566124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价值</a:t>
            </a:r>
            <a:r>
              <a:rPr lang="zh-CN" altLang="en-US" dirty="0" smtClean="0">
                <a:latin typeface="+mj-ea"/>
                <a:ea typeface="+mj-ea"/>
              </a:rPr>
              <a:t>来源于客户访谈及傆型假设验证</a:t>
            </a:r>
            <a:endParaRPr lang="en-US" altLang="zh-CN" dirty="0" smtClean="0">
              <a:latin typeface="+mj-ea"/>
              <a:ea typeface="+mj-ea"/>
            </a:endParaRPr>
          </a:p>
        </p:txBody>
      </p:sp>
      <p:sp>
        <p:nvSpPr>
          <p:cNvPr id="7" name="TextBox 6"/>
          <p:cNvSpPr txBox="1"/>
          <p:nvPr/>
        </p:nvSpPr>
        <p:spPr>
          <a:xfrm rot="21336113">
            <a:off x="5016097" y="201798"/>
            <a:ext cx="2236510" cy="400110"/>
          </a:xfrm>
          <a:prstGeom prst="rect">
            <a:avLst/>
          </a:prstGeom>
          <a:solidFill>
            <a:srgbClr val="C00000">
              <a:alpha val="29000"/>
            </a:srgbClr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solidFill>
                  <a:schemeClr val="tx1"/>
                </a:solidFill>
                <a:latin typeface="+mj-ea"/>
                <a:ea typeface="+mj-ea"/>
              </a:rPr>
              <a:t>死亡行军的蜕变！</a:t>
            </a:r>
            <a:endParaRPr lang="en-US" altLang="zh-CN" sz="2000" b="1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graphicFrame>
        <p:nvGraphicFramePr>
          <p:cNvPr id="11" name="图表 10"/>
          <p:cNvGraphicFramePr/>
          <p:nvPr/>
        </p:nvGraphicFramePr>
        <p:xfrm>
          <a:off x="4572000" y="41148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853116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卖家工作台（原商家助手） </a:t>
            </a:r>
            <a:endParaRPr lang="zh-CN" altLang="en-US" dirty="0"/>
          </a:p>
        </p:txBody>
      </p:sp>
      <p:sp>
        <p:nvSpPr>
          <p:cNvPr id="7" name="TextBox 6"/>
          <p:cNvSpPr txBox="1"/>
          <p:nvPr/>
        </p:nvSpPr>
        <p:spPr>
          <a:xfrm rot="21336113">
            <a:off x="5016097" y="201798"/>
            <a:ext cx="2236510" cy="400110"/>
          </a:xfrm>
          <a:prstGeom prst="rect">
            <a:avLst/>
          </a:prstGeom>
          <a:solidFill>
            <a:srgbClr val="C00000">
              <a:alpha val="29000"/>
            </a:srgbClr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solidFill>
                  <a:schemeClr val="tx1"/>
                </a:solidFill>
                <a:latin typeface="+mj-ea"/>
                <a:ea typeface="+mj-ea"/>
              </a:rPr>
              <a:t>死亡行军的蜕变！</a:t>
            </a:r>
            <a:endParaRPr lang="en-US" altLang="zh-CN" sz="2000" b="1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  <p:graphicFrame>
        <p:nvGraphicFramePr>
          <p:cNvPr id="12" name="图表 11"/>
          <p:cNvGraphicFramePr/>
          <p:nvPr/>
        </p:nvGraphicFramePr>
        <p:xfrm>
          <a:off x="683568" y="1196752"/>
          <a:ext cx="7992888" cy="5056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853116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内容占位符 3" descr="获取JOS运营分析数据由1天提升至1小时.bmp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99592" y="1268760"/>
            <a:ext cx="7419591" cy="2999132"/>
          </a:xfr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JOS</a:t>
            </a:r>
            <a:r>
              <a:rPr lang="zh-CN" altLang="en-US" dirty="0"/>
              <a:t>最</a:t>
            </a:r>
            <a:r>
              <a:rPr lang="zh-CN" altLang="en-US" dirty="0" smtClean="0"/>
              <a:t>短价值路径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99592" y="4725144"/>
            <a:ext cx="7632848" cy="1689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400" dirty="0" smtClean="0">
                <a:latin typeface="+mj-ea"/>
                <a:ea typeface="+mj-ea"/>
              </a:rPr>
              <a:t>最短路径，快速衡量</a:t>
            </a:r>
            <a:r>
              <a:rPr lang="en-US" altLang="zh-CN" sz="2400" dirty="0" smtClean="0">
                <a:latin typeface="+mj-ea"/>
                <a:ea typeface="+mj-ea"/>
              </a:rPr>
              <a:t>MVP</a:t>
            </a: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400" dirty="0" smtClean="0">
                <a:latin typeface="+mj-ea"/>
                <a:ea typeface="+mj-ea"/>
              </a:rPr>
              <a:t>快速迭代，交付价值</a:t>
            </a:r>
            <a:endParaRPr lang="en-US" altLang="zh-CN" sz="2400" dirty="0" smtClean="0">
              <a:latin typeface="+mj-ea"/>
              <a:ea typeface="+mj-ea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400" dirty="0" smtClean="0">
                <a:latin typeface="+mj-ea"/>
                <a:ea typeface="+mj-ea"/>
              </a:rPr>
              <a:t>响应变化</a:t>
            </a:r>
          </a:p>
        </p:txBody>
      </p:sp>
    </p:spTree>
    <p:extLst>
      <p:ext uri="{BB962C8B-B14F-4D97-AF65-F5344CB8AC3E}">
        <p14:creationId xmlns:p14="http://schemas.microsoft.com/office/powerpoint/2010/main" xmlns="" val="1356832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JOS</a:t>
            </a:r>
            <a:r>
              <a:rPr lang="zh-CN" altLang="en-US" smtClean="0"/>
              <a:t>拥抱变化</a:t>
            </a:r>
            <a:r>
              <a:rPr lang="en-US" altLang="zh-CN" smtClean="0"/>
              <a:t> </a:t>
            </a:r>
            <a:endParaRPr lang="zh-CN" altLang="en-US" dirty="0"/>
          </a:p>
        </p:txBody>
      </p:sp>
      <p:graphicFrame>
        <p:nvGraphicFramePr>
          <p:cNvPr id="5" name="图表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07082293"/>
              </p:ext>
            </p:extLst>
          </p:nvPr>
        </p:nvGraphicFramePr>
        <p:xfrm>
          <a:off x="0" y="34290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图表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01034020"/>
              </p:ext>
            </p:extLst>
          </p:nvPr>
        </p:nvGraphicFramePr>
        <p:xfrm>
          <a:off x="4574764" y="350100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" name="组合 18"/>
          <p:cNvGrpSpPr/>
          <p:nvPr/>
        </p:nvGrpSpPr>
        <p:grpSpPr>
          <a:xfrm>
            <a:off x="923564" y="1189076"/>
            <a:ext cx="7056784" cy="2148656"/>
            <a:chOff x="799630" y="692696"/>
            <a:chExt cx="7056784" cy="2148656"/>
          </a:xfrm>
        </p:grpSpPr>
        <p:sp>
          <p:nvSpPr>
            <p:cNvPr id="4" name="圆角矩形 3"/>
            <p:cNvSpPr/>
            <p:nvPr/>
          </p:nvSpPr>
          <p:spPr>
            <a:xfrm>
              <a:off x="799630" y="692696"/>
              <a:ext cx="7056784" cy="214865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dirty="0" err="1" smtClean="0"/>
                <a:t>i</a:t>
              </a:r>
              <a:r>
                <a:rPr lang="en-US" altLang="zh-CN" dirty="0" smtClean="0"/>
                <a:t> </a:t>
              </a:r>
              <a:endParaRPr lang="zh-CN" altLang="en-US" dirty="0"/>
            </a:p>
          </p:txBody>
        </p:sp>
        <p:sp>
          <p:nvSpPr>
            <p:cNvPr id="7" name="矩形 6"/>
            <p:cNvSpPr/>
            <p:nvPr/>
          </p:nvSpPr>
          <p:spPr>
            <a:xfrm>
              <a:off x="1135336" y="908720"/>
              <a:ext cx="1780480" cy="6480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>
                  <a:solidFill>
                    <a:schemeClr val="tx1"/>
                  </a:solidFill>
                </a:rPr>
                <a:t>增量式开发：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1156396" y="1767024"/>
              <a:ext cx="1762124" cy="6257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>
                  <a:solidFill>
                    <a:schemeClr val="tx1"/>
                  </a:solidFill>
                </a:rPr>
                <a:t>迭代式开发：</a:t>
              </a:r>
              <a:endParaRPr lang="zh-CN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3203848" y="973200"/>
              <a:ext cx="648072" cy="43204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3851377" y="973200"/>
              <a:ext cx="648072" cy="4320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001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4498906" y="973200"/>
              <a:ext cx="648072" cy="4320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001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/>
            <p:cNvSpPr/>
            <p:nvPr/>
          </p:nvSpPr>
          <p:spPr>
            <a:xfrm>
              <a:off x="5146435" y="973200"/>
              <a:ext cx="648072" cy="43204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/>
            <p:cNvSpPr/>
            <p:nvPr/>
          </p:nvSpPr>
          <p:spPr>
            <a:xfrm>
              <a:off x="5793964" y="973200"/>
              <a:ext cx="648072" cy="4320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001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/>
            <p:cNvSpPr/>
            <p:nvPr/>
          </p:nvSpPr>
          <p:spPr>
            <a:xfrm>
              <a:off x="6441492" y="973200"/>
              <a:ext cx="648072" cy="43204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3203305" y="1863874"/>
              <a:ext cx="648072" cy="43204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15"/>
            <p:cNvSpPr/>
            <p:nvPr/>
          </p:nvSpPr>
          <p:spPr>
            <a:xfrm>
              <a:off x="3850834" y="1863874"/>
              <a:ext cx="648072" cy="43204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/>
            <p:cNvSpPr/>
            <p:nvPr/>
          </p:nvSpPr>
          <p:spPr>
            <a:xfrm>
              <a:off x="5108412" y="1863874"/>
              <a:ext cx="648072" cy="43204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4499449" y="1863874"/>
              <a:ext cx="648072" cy="4320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001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244108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交付周期</a:t>
            </a:r>
            <a:r>
              <a:rPr lang="en-US" altLang="zh-CN" dirty="0" smtClean="0"/>
              <a:t>(</a:t>
            </a:r>
            <a:r>
              <a:rPr lang="zh-CN" altLang="en-US" b="1" dirty="0" smtClean="0"/>
              <a:t>响应市场变化</a:t>
            </a:r>
            <a:r>
              <a:rPr lang="zh-CN" altLang="en-US" dirty="0" smtClean="0"/>
              <a:t>的能力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graphicFrame>
        <p:nvGraphicFramePr>
          <p:cNvPr id="5" name="图表 4"/>
          <p:cNvGraphicFramePr/>
          <p:nvPr/>
        </p:nvGraphicFramePr>
        <p:xfrm>
          <a:off x="539552" y="980728"/>
          <a:ext cx="7992888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图表 5"/>
          <p:cNvGraphicFramePr/>
          <p:nvPr/>
        </p:nvGraphicFramePr>
        <p:xfrm>
          <a:off x="539552" y="4005064"/>
          <a:ext cx="6120680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err="1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3690</TotalTime>
  <Words>1147</Words>
  <Application>Microsoft Office PowerPoint</Application>
  <PresentationFormat>全屏显示(4:3)</PresentationFormat>
  <Paragraphs>237</Paragraphs>
  <Slides>18</Slides>
  <Notes>1</Notes>
  <HiddenSlides>1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0" baseType="lpstr">
      <vt:lpstr>JD Template V2.0</vt:lpstr>
      <vt:lpstr>think-cell Slide</vt:lpstr>
      <vt:lpstr>敏捷模式助力研发团队转型</vt:lpstr>
      <vt:lpstr>幻灯片 2</vt:lpstr>
      <vt:lpstr>课件时长超过100小时</vt:lpstr>
      <vt:lpstr>持续变革团队 --- 鹰的重生 </vt:lpstr>
      <vt:lpstr>卖家工作台（原商家助手） </vt:lpstr>
      <vt:lpstr>卖家工作台（原商家助手） </vt:lpstr>
      <vt:lpstr>JOS最短价值路径</vt:lpstr>
      <vt:lpstr>JOS拥抱变化 </vt:lpstr>
      <vt:lpstr>交付周期(响应市场变化的能力)</vt:lpstr>
      <vt:lpstr>质量在于反馈</vt:lpstr>
      <vt:lpstr>特性开关工具已内部开源</vt:lpstr>
      <vt:lpstr>精益创业 --- 将决策权交给真实用户</vt:lpstr>
      <vt:lpstr>持续关注价值和团队是产品成功的保障</vt:lpstr>
      <vt:lpstr>建议</vt:lpstr>
      <vt:lpstr>星星之火正在燎原</vt:lpstr>
      <vt:lpstr>老李语录(摘自《敏捷一千零一夜》推荐序)</vt:lpstr>
      <vt:lpstr>成为一名教练要靠自己，我们只提供土壤</vt:lpstr>
      <vt:lpstr>幻灯片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Administrator</dc:creator>
  <cp:lastModifiedBy>Administrator</cp:lastModifiedBy>
  <cp:revision>31</cp:revision>
  <dcterms:created xsi:type="dcterms:W3CDTF">2014-05-16T01:24:22Z</dcterms:created>
  <dcterms:modified xsi:type="dcterms:W3CDTF">2014-07-09T06:56:34Z</dcterms:modified>
</cp:coreProperties>
</file>